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59" r:id="rId4"/>
    <p:sldId id="260" r:id="rId5"/>
    <p:sldId id="262" r:id="rId6"/>
    <p:sldId id="263" r:id="rId7"/>
    <p:sldId id="265" r:id="rId8"/>
    <p:sldId id="258" r:id="rId9"/>
    <p:sldId id="264" r:id="rId10"/>
    <p:sldId id="261" r:id="rId11"/>
  </p:sldIdLst>
  <p:sldSz cx="9144000" cy="6858000" type="screen4x3"/>
  <p:notesSz cx="6858000" cy="9144000"/>
  <p:custDataLst>
    <p:tags r:id="rId13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582" autoAdjust="0"/>
    <p:restoredTop sz="94619" autoAdjust="0"/>
  </p:normalViewPr>
  <p:slideViewPr>
    <p:cSldViewPr>
      <p:cViewPr>
        <p:scale>
          <a:sx n="50" d="100"/>
          <a:sy n="50" d="100"/>
        </p:scale>
        <p:origin x="1276" y="5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F0CD2D5-B286-4183-B426-FEB40ED90B76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0AF91F5D-07CD-44D2-9C03-C625260C75F9}">
      <dgm:prSet phldrT="[Text]" custT="1"/>
      <dgm:spPr>
        <a:solidFill>
          <a:schemeClr val="tx2">
            <a:alpha val="30000"/>
          </a:schemeClr>
        </a:solidFill>
      </dgm:spPr>
      <dgm:t>
        <a:bodyPr/>
        <a:lstStyle/>
        <a:p>
          <a:r>
            <a:rPr lang="de-DE" sz="1800" b="1" dirty="0">
              <a:solidFill>
                <a:schemeClr val="accent4"/>
              </a:solidFill>
            </a:rPr>
            <a:t>Abstand rechts &amp; links &gt; 5, keine Farbe:</a:t>
          </a:r>
        </a:p>
        <a:p>
          <a:r>
            <a:rPr lang="de-DE" sz="1800" b="1" dirty="0">
              <a:solidFill>
                <a:schemeClr val="accent4"/>
              </a:solidFill>
            </a:rPr>
            <a:t>Geradeaus</a:t>
          </a:r>
        </a:p>
      </dgm:t>
    </dgm:pt>
    <dgm:pt modelId="{500C5385-C4AA-4DE2-8B7F-DCC441942B39}" type="parTrans" cxnId="{024F8632-8BBE-4A36-BC4E-6908B214EA5B}">
      <dgm:prSet/>
      <dgm:spPr/>
      <dgm:t>
        <a:bodyPr/>
        <a:lstStyle/>
        <a:p>
          <a:endParaRPr lang="de-DE"/>
        </a:p>
      </dgm:t>
    </dgm:pt>
    <dgm:pt modelId="{D616C30C-B580-4DA3-A4C0-89771BA01599}" type="sibTrans" cxnId="{024F8632-8BBE-4A36-BC4E-6908B214EA5B}">
      <dgm:prSet/>
      <dgm:spPr/>
      <dgm:t>
        <a:bodyPr/>
        <a:lstStyle/>
        <a:p>
          <a:endParaRPr lang="de-DE"/>
        </a:p>
      </dgm:t>
    </dgm:pt>
    <dgm:pt modelId="{9ABCEDC0-DBBF-4557-BE93-75CED5B54711}">
      <dgm:prSet phldrT="[Text]" custT="1"/>
      <dgm:spPr>
        <a:solidFill>
          <a:schemeClr val="tx2">
            <a:alpha val="30000"/>
          </a:schemeClr>
        </a:solidFill>
      </dgm:spPr>
      <dgm:t>
        <a:bodyPr/>
        <a:lstStyle/>
        <a:p>
          <a:r>
            <a:rPr lang="de-DE" sz="1800" b="1" dirty="0">
              <a:solidFill>
                <a:schemeClr val="accent4"/>
              </a:solidFill>
            </a:rPr>
            <a:t>Abstand links &lt;= 5:</a:t>
          </a:r>
        </a:p>
        <a:p>
          <a:r>
            <a:rPr lang="de-DE" sz="1800" b="1" dirty="0">
              <a:solidFill>
                <a:schemeClr val="accent4"/>
              </a:solidFill>
            </a:rPr>
            <a:t> Lenkung nach rechts</a:t>
          </a:r>
        </a:p>
      </dgm:t>
    </dgm:pt>
    <dgm:pt modelId="{14FC43AF-D7F9-47CE-9B99-05AD5D1F89C9}" type="parTrans" cxnId="{98F7C969-1D8C-4CD6-A36E-E025A2154384}">
      <dgm:prSet/>
      <dgm:spPr/>
      <dgm:t>
        <a:bodyPr/>
        <a:lstStyle/>
        <a:p>
          <a:endParaRPr lang="de-DE"/>
        </a:p>
      </dgm:t>
    </dgm:pt>
    <dgm:pt modelId="{F9FE7415-4591-4A7F-A832-519AA4E8CA54}" type="sibTrans" cxnId="{98F7C969-1D8C-4CD6-A36E-E025A2154384}">
      <dgm:prSet/>
      <dgm:spPr/>
      <dgm:t>
        <a:bodyPr/>
        <a:lstStyle/>
        <a:p>
          <a:endParaRPr lang="de-DE"/>
        </a:p>
      </dgm:t>
    </dgm:pt>
    <dgm:pt modelId="{8D12A68B-9386-434F-90F6-09D6F92FFD33}">
      <dgm:prSet phldrT="[Text]" custT="1"/>
      <dgm:spPr>
        <a:solidFill>
          <a:schemeClr val="tx2">
            <a:alpha val="30000"/>
          </a:schemeClr>
        </a:solidFill>
      </dgm:spPr>
      <dgm:t>
        <a:bodyPr/>
        <a:lstStyle/>
        <a:p>
          <a:r>
            <a:rPr lang="de-DE" sz="1800" b="1" dirty="0">
              <a:solidFill>
                <a:schemeClr val="accent4"/>
              </a:solidFill>
            </a:rPr>
            <a:t>Abstand rechts </a:t>
          </a:r>
        </a:p>
        <a:p>
          <a:r>
            <a:rPr lang="de-DE" sz="1800" b="1" dirty="0">
              <a:solidFill>
                <a:schemeClr val="accent4"/>
              </a:solidFill>
            </a:rPr>
            <a:t>&lt;= 5:</a:t>
          </a:r>
        </a:p>
        <a:p>
          <a:r>
            <a:rPr lang="de-DE" sz="1800" b="1" dirty="0">
              <a:solidFill>
                <a:schemeClr val="accent4"/>
              </a:solidFill>
            </a:rPr>
            <a:t>Lenkung nach links</a:t>
          </a:r>
        </a:p>
      </dgm:t>
    </dgm:pt>
    <dgm:pt modelId="{E105E3D4-D50A-407E-8057-742852FEF942}" type="parTrans" cxnId="{D9098108-859A-4A69-ACF4-FDC4BBF781CF}">
      <dgm:prSet/>
      <dgm:spPr/>
      <dgm:t>
        <a:bodyPr/>
        <a:lstStyle/>
        <a:p>
          <a:endParaRPr lang="de-DE"/>
        </a:p>
      </dgm:t>
    </dgm:pt>
    <dgm:pt modelId="{B11B6163-A0F2-4597-A6AA-3304F40A78CE}" type="sibTrans" cxnId="{D9098108-859A-4A69-ACF4-FDC4BBF781CF}">
      <dgm:prSet/>
      <dgm:spPr/>
      <dgm:t>
        <a:bodyPr/>
        <a:lstStyle/>
        <a:p>
          <a:endParaRPr lang="de-DE"/>
        </a:p>
      </dgm:t>
    </dgm:pt>
    <dgm:pt modelId="{4B5D275C-2611-47D0-9559-BB1985119CDD}">
      <dgm:prSet phldrT="[Text]" custT="1"/>
      <dgm:spPr>
        <a:solidFill>
          <a:schemeClr val="tx2">
            <a:alpha val="30000"/>
          </a:schemeClr>
        </a:solidFill>
      </dgm:spPr>
      <dgm:t>
        <a:bodyPr/>
        <a:lstStyle/>
        <a:p>
          <a:r>
            <a:rPr lang="de-DE" sz="1800" b="1" dirty="0">
              <a:solidFill>
                <a:schemeClr val="accent4"/>
              </a:solidFill>
            </a:rPr>
            <a:t>Rot-Wert &lt;= 10:</a:t>
          </a:r>
        </a:p>
        <a:p>
          <a:r>
            <a:rPr lang="de-DE" sz="1800" b="1" dirty="0">
              <a:solidFill>
                <a:schemeClr val="accent4"/>
              </a:solidFill>
            </a:rPr>
            <a:t>90° Drehung nach rechts</a:t>
          </a:r>
        </a:p>
      </dgm:t>
    </dgm:pt>
    <dgm:pt modelId="{EC4E598E-96DD-4987-AAE8-E48C1BC3AEBF}" type="parTrans" cxnId="{B675B3D3-E73E-42AF-B569-4519E8D7067A}">
      <dgm:prSet/>
      <dgm:spPr/>
      <dgm:t>
        <a:bodyPr/>
        <a:lstStyle/>
        <a:p>
          <a:endParaRPr lang="de-DE"/>
        </a:p>
      </dgm:t>
    </dgm:pt>
    <dgm:pt modelId="{5D189A1D-2086-4E5B-B79D-16186DD3F8C6}" type="sibTrans" cxnId="{B675B3D3-E73E-42AF-B569-4519E8D7067A}">
      <dgm:prSet/>
      <dgm:spPr/>
      <dgm:t>
        <a:bodyPr/>
        <a:lstStyle/>
        <a:p>
          <a:endParaRPr lang="de-DE"/>
        </a:p>
      </dgm:t>
    </dgm:pt>
    <dgm:pt modelId="{AEA77BB8-97BF-433F-8EE7-97F7F53340F0}">
      <dgm:prSet phldrT="[Text]" custT="1"/>
      <dgm:spPr>
        <a:solidFill>
          <a:schemeClr val="tx2">
            <a:alpha val="30000"/>
          </a:schemeClr>
        </a:solidFill>
      </dgm:spPr>
      <dgm:t>
        <a:bodyPr/>
        <a:lstStyle/>
        <a:p>
          <a:r>
            <a:rPr lang="de-DE" sz="1800" b="1" dirty="0">
              <a:solidFill>
                <a:schemeClr val="accent4"/>
              </a:solidFill>
            </a:rPr>
            <a:t>Blau-Wert &lt;= 13:</a:t>
          </a:r>
        </a:p>
        <a:p>
          <a:r>
            <a:rPr lang="de-DE" sz="1800" b="1" dirty="0">
              <a:solidFill>
                <a:schemeClr val="accent4"/>
              </a:solidFill>
            </a:rPr>
            <a:t>90° Drehung nach links</a:t>
          </a:r>
        </a:p>
      </dgm:t>
    </dgm:pt>
    <dgm:pt modelId="{F21A54EE-099C-43DA-B470-AD5ADF01A51E}" type="parTrans" cxnId="{9ACF7272-D0B6-457E-B373-D1F6B7EDAD79}">
      <dgm:prSet/>
      <dgm:spPr/>
      <dgm:t>
        <a:bodyPr/>
        <a:lstStyle/>
        <a:p>
          <a:endParaRPr lang="de-DE"/>
        </a:p>
      </dgm:t>
    </dgm:pt>
    <dgm:pt modelId="{39E0018E-1DBC-489A-8B03-FD0C970E4915}" type="sibTrans" cxnId="{9ACF7272-D0B6-457E-B373-D1F6B7EDAD79}">
      <dgm:prSet/>
      <dgm:spPr/>
      <dgm:t>
        <a:bodyPr/>
        <a:lstStyle/>
        <a:p>
          <a:endParaRPr lang="de-DE"/>
        </a:p>
      </dgm:t>
    </dgm:pt>
    <dgm:pt modelId="{F73AF902-D615-4B6C-8799-CA7CFB5CC1EA}" type="pres">
      <dgm:prSet presAssocID="{9F0CD2D5-B286-4183-B426-FEB40ED90B76}" presName="Name0" presStyleCnt="0">
        <dgm:presLayoutVars>
          <dgm:dir/>
          <dgm:resizeHandles val="exact"/>
        </dgm:presLayoutVars>
      </dgm:prSet>
      <dgm:spPr/>
    </dgm:pt>
    <dgm:pt modelId="{EDD2B706-9C53-4A6B-A7F8-408BC814A4ED}" type="pres">
      <dgm:prSet presAssocID="{9F0CD2D5-B286-4183-B426-FEB40ED90B76}" presName="cycle" presStyleCnt="0"/>
      <dgm:spPr/>
    </dgm:pt>
    <dgm:pt modelId="{20A27891-100E-4720-9AAE-5CA9430CEE26}" type="pres">
      <dgm:prSet presAssocID="{0AF91F5D-07CD-44D2-9C03-C625260C75F9}" presName="nodeFirstNode" presStyleLbl="node1" presStyleIdx="0" presStyleCnt="5" custScaleX="127522" custScaleY="137161">
        <dgm:presLayoutVars>
          <dgm:bulletEnabled val="1"/>
        </dgm:presLayoutVars>
      </dgm:prSet>
      <dgm:spPr/>
    </dgm:pt>
    <dgm:pt modelId="{30A7DBF0-9542-4C42-9F5A-FEE6AE0FEBB7}" type="pres">
      <dgm:prSet presAssocID="{D616C30C-B580-4DA3-A4C0-89771BA01599}" presName="sibTransFirstNode" presStyleLbl="bgShp" presStyleIdx="0" presStyleCnt="1"/>
      <dgm:spPr/>
    </dgm:pt>
    <dgm:pt modelId="{C857A35D-44FD-4DB9-97AF-A74501766D0B}" type="pres">
      <dgm:prSet presAssocID="{9ABCEDC0-DBBF-4557-BE93-75CED5B54711}" presName="nodeFollowingNodes" presStyleLbl="node1" presStyleIdx="1" presStyleCnt="5" custScaleX="129215" custScaleY="136092" custRadScaleRad="117509" custRadScaleInc="13542">
        <dgm:presLayoutVars>
          <dgm:bulletEnabled val="1"/>
        </dgm:presLayoutVars>
      </dgm:prSet>
      <dgm:spPr/>
    </dgm:pt>
    <dgm:pt modelId="{A3C2428C-2189-4344-92F0-5B0768BEBD0B}" type="pres">
      <dgm:prSet presAssocID="{8D12A68B-9386-434F-90F6-09D6F92FFD33}" presName="nodeFollowingNodes" presStyleLbl="node1" presStyleIdx="2" presStyleCnt="5" custScaleX="116926" custScaleY="137158" custRadScaleRad="100280" custRadScaleInc="-18940">
        <dgm:presLayoutVars>
          <dgm:bulletEnabled val="1"/>
        </dgm:presLayoutVars>
      </dgm:prSet>
      <dgm:spPr/>
    </dgm:pt>
    <dgm:pt modelId="{2551BC97-EDD6-4247-918F-7C1AB596BA2A}" type="pres">
      <dgm:prSet presAssocID="{4B5D275C-2611-47D0-9559-BB1985119CDD}" presName="nodeFollowingNodes" presStyleLbl="node1" presStyleIdx="3" presStyleCnt="5" custScaleX="125414" custScaleY="136091" custRadScaleRad="98224" custRadScaleInc="17083">
        <dgm:presLayoutVars>
          <dgm:bulletEnabled val="1"/>
        </dgm:presLayoutVars>
      </dgm:prSet>
      <dgm:spPr/>
    </dgm:pt>
    <dgm:pt modelId="{AFD55A6A-1B51-46C5-ABA9-78E609B1BE94}" type="pres">
      <dgm:prSet presAssocID="{AEA77BB8-97BF-433F-8EE7-97F7F53340F0}" presName="nodeFollowingNodes" presStyleLbl="node1" presStyleIdx="4" presStyleCnt="5" custScaleX="119815" custScaleY="138943" custRadScaleRad="113827" custRadScaleInc="-13623">
        <dgm:presLayoutVars>
          <dgm:bulletEnabled val="1"/>
        </dgm:presLayoutVars>
      </dgm:prSet>
      <dgm:spPr/>
    </dgm:pt>
  </dgm:ptLst>
  <dgm:cxnLst>
    <dgm:cxn modelId="{3A4EF53A-2C90-41E0-8785-3FBF1F6F95CE}" type="presOf" srcId="{9F0CD2D5-B286-4183-B426-FEB40ED90B76}" destId="{F73AF902-D615-4B6C-8799-CA7CFB5CC1EA}" srcOrd="0" destOrd="0" presId="urn:microsoft.com/office/officeart/2005/8/layout/cycle3"/>
    <dgm:cxn modelId="{024F8632-8BBE-4A36-BC4E-6908B214EA5B}" srcId="{9F0CD2D5-B286-4183-B426-FEB40ED90B76}" destId="{0AF91F5D-07CD-44D2-9C03-C625260C75F9}" srcOrd="0" destOrd="0" parTransId="{500C5385-C4AA-4DE2-8B7F-DCC441942B39}" sibTransId="{D616C30C-B580-4DA3-A4C0-89771BA01599}"/>
    <dgm:cxn modelId="{D70999A3-BF6D-42F3-B0D0-CC46442BC770}" type="presOf" srcId="{0AF91F5D-07CD-44D2-9C03-C625260C75F9}" destId="{20A27891-100E-4720-9AAE-5CA9430CEE26}" srcOrd="0" destOrd="0" presId="urn:microsoft.com/office/officeart/2005/8/layout/cycle3"/>
    <dgm:cxn modelId="{76BCF576-1935-4A29-A090-61BD89426582}" type="presOf" srcId="{D616C30C-B580-4DA3-A4C0-89771BA01599}" destId="{30A7DBF0-9542-4C42-9F5A-FEE6AE0FEBB7}" srcOrd="0" destOrd="0" presId="urn:microsoft.com/office/officeart/2005/8/layout/cycle3"/>
    <dgm:cxn modelId="{C2EEEA15-3F5A-496F-9DB7-633EA3F5F82E}" type="presOf" srcId="{8D12A68B-9386-434F-90F6-09D6F92FFD33}" destId="{A3C2428C-2189-4344-92F0-5B0768BEBD0B}" srcOrd="0" destOrd="0" presId="urn:microsoft.com/office/officeart/2005/8/layout/cycle3"/>
    <dgm:cxn modelId="{D9098108-859A-4A69-ACF4-FDC4BBF781CF}" srcId="{9F0CD2D5-B286-4183-B426-FEB40ED90B76}" destId="{8D12A68B-9386-434F-90F6-09D6F92FFD33}" srcOrd="2" destOrd="0" parTransId="{E105E3D4-D50A-407E-8057-742852FEF942}" sibTransId="{B11B6163-A0F2-4597-A6AA-3304F40A78CE}"/>
    <dgm:cxn modelId="{63B8B6E7-A13B-43D0-82ED-FD89394DC5E3}" type="presOf" srcId="{AEA77BB8-97BF-433F-8EE7-97F7F53340F0}" destId="{AFD55A6A-1B51-46C5-ABA9-78E609B1BE94}" srcOrd="0" destOrd="0" presId="urn:microsoft.com/office/officeart/2005/8/layout/cycle3"/>
    <dgm:cxn modelId="{94227187-D560-4C2E-9FAF-5887BC4C097B}" type="presOf" srcId="{9ABCEDC0-DBBF-4557-BE93-75CED5B54711}" destId="{C857A35D-44FD-4DB9-97AF-A74501766D0B}" srcOrd="0" destOrd="0" presId="urn:microsoft.com/office/officeart/2005/8/layout/cycle3"/>
    <dgm:cxn modelId="{98F7C969-1D8C-4CD6-A36E-E025A2154384}" srcId="{9F0CD2D5-B286-4183-B426-FEB40ED90B76}" destId="{9ABCEDC0-DBBF-4557-BE93-75CED5B54711}" srcOrd="1" destOrd="0" parTransId="{14FC43AF-D7F9-47CE-9B99-05AD5D1F89C9}" sibTransId="{F9FE7415-4591-4A7F-A832-519AA4E8CA54}"/>
    <dgm:cxn modelId="{B675B3D3-E73E-42AF-B569-4519E8D7067A}" srcId="{9F0CD2D5-B286-4183-B426-FEB40ED90B76}" destId="{4B5D275C-2611-47D0-9559-BB1985119CDD}" srcOrd="3" destOrd="0" parTransId="{EC4E598E-96DD-4987-AAE8-E48C1BC3AEBF}" sibTransId="{5D189A1D-2086-4E5B-B79D-16186DD3F8C6}"/>
    <dgm:cxn modelId="{E2C7843F-26C3-43A0-A333-428BC6733AF2}" type="presOf" srcId="{4B5D275C-2611-47D0-9559-BB1985119CDD}" destId="{2551BC97-EDD6-4247-918F-7C1AB596BA2A}" srcOrd="0" destOrd="0" presId="urn:microsoft.com/office/officeart/2005/8/layout/cycle3"/>
    <dgm:cxn modelId="{9ACF7272-D0B6-457E-B373-D1F6B7EDAD79}" srcId="{9F0CD2D5-B286-4183-B426-FEB40ED90B76}" destId="{AEA77BB8-97BF-433F-8EE7-97F7F53340F0}" srcOrd="4" destOrd="0" parTransId="{F21A54EE-099C-43DA-B470-AD5ADF01A51E}" sibTransId="{39E0018E-1DBC-489A-8B03-FD0C970E4915}"/>
    <dgm:cxn modelId="{4652968A-5A6B-4752-B8DD-193536392B47}" type="presParOf" srcId="{F73AF902-D615-4B6C-8799-CA7CFB5CC1EA}" destId="{EDD2B706-9C53-4A6B-A7F8-408BC814A4ED}" srcOrd="0" destOrd="0" presId="urn:microsoft.com/office/officeart/2005/8/layout/cycle3"/>
    <dgm:cxn modelId="{4F54A293-C250-43EA-8478-65E62CF5E026}" type="presParOf" srcId="{EDD2B706-9C53-4A6B-A7F8-408BC814A4ED}" destId="{20A27891-100E-4720-9AAE-5CA9430CEE26}" srcOrd="0" destOrd="0" presId="urn:microsoft.com/office/officeart/2005/8/layout/cycle3"/>
    <dgm:cxn modelId="{83AE2DE9-FA1F-41D0-AC9A-E8B86CEAC967}" type="presParOf" srcId="{EDD2B706-9C53-4A6B-A7F8-408BC814A4ED}" destId="{30A7DBF0-9542-4C42-9F5A-FEE6AE0FEBB7}" srcOrd="1" destOrd="0" presId="urn:microsoft.com/office/officeart/2005/8/layout/cycle3"/>
    <dgm:cxn modelId="{92772200-DF0D-4CB3-AE4A-8B44535AAB3D}" type="presParOf" srcId="{EDD2B706-9C53-4A6B-A7F8-408BC814A4ED}" destId="{C857A35D-44FD-4DB9-97AF-A74501766D0B}" srcOrd="2" destOrd="0" presId="urn:microsoft.com/office/officeart/2005/8/layout/cycle3"/>
    <dgm:cxn modelId="{D0A0AEEE-99B9-4F2D-8D72-7CCC5BCBD543}" type="presParOf" srcId="{EDD2B706-9C53-4A6B-A7F8-408BC814A4ED}" destId="{A3C2428C-2189-4344-92F0-5B0768BEBD0B}" srcOrd="3" destOrd="0" presId="urn:microsoft.com/office/officeart/2005/8/layout/cycle3"/>
    <dgm:cxn modelId="{E9E150B2-DF6E-4248-8A98-022A63C17C00}" type="presParOf" srcId="{EDD2B706-9C53-4A6B-A7F8-408BC814A4ED}" destId="{2551BC97-EDD6-4247-918F-7C1AB596BA2A}" srcOrd="4" destOrd="0" presId="urn:microsoft.com/office/officeart/2005/8/layout/cycle3"/>
    <dgm:cxn modelId="{759714E1-81A9-4082-AF5F-2B1410106049}" type="presParOf" srcId="{EDD2B706-9C53-4A6B-A7F8-408BC814A4ED}" destId="{AFD55A6A-1B51-46C5-ABA9-78E609B1BE94}" srcOrd="5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A7DBF0-9542-4C42-9F5A-FEE6AE0FEBB7}">
      <dsp:nvSpPr>
        <dsp:cNvPr id="0" name=""/>
        <dsp:cNvSpPr/>
      </dsp:nvSpPr>
      <dsp:spPr>
        <a:xfrm>
          <a:off x="2182345" y="-198201"/>
          <a:ext cx="3616898" cy="3616898"/>
        </a:xfrm>
        <a:prstGeom prst="circularArrow">
          <a:avLst>
            <a:gd name="adj1" fmla="val 5544"/>
            <a:gd name="adj2" fmla="val 330680"/>
            <a:gd name="adj3" fmla="val 13093300"/>
            <a:gd name="adj4" fmla="val 17816907"/>
            <a:gd name="adj5" fmla="val 575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0A27891-100E-4720-9AAE-5CA9430CEE26}">
      <dsp:nvSpPr>
        <dsp:cNvPr id="0" name=""/>
        <dsp:cNvSpPr/>
      </dsp:nvSpPr>
      <dsp:spPr>
        <a:xfrm>
          <a:off x="2909089" y="-155967"/>
          <a:ext cx="2163410" cy="1163467"/>
        </a:xfrm>
        <a:prstGeom prst="roundRect">
          <a:avLst/>
        </a:prstGeom>
        <a:solidFill>
          <a:schemeClr val="tx2">
            <a:alpha val="3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accent4"/>
              </a:solidFill>
            </a:rPr>
            <a:t>Abstand rechts &amp; links &gt; 5, keine Farbe: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accent4"/>
              </a:solidFill>
            </a:rPr>
            <a:t>Geradeaus</a:t>
          </a:r>
        </a:p>
      </dsp:txBody>
      <dsp:txXfrm>
        <a:off x="2965885" y="-99171"/>
        <a:ext cx="2049818" cy="1049875"/>
      </dsp:txXfrm>
    </dsp:sp>
    <dsp:sp modelId="{C857A35D-44FD-4DB9-97AF-A74501766D0B}">
      <dsp:nvSpPr>
        <dsp:cNvPr id="0" name=""/>
        <dsp:cNvSpPr/>
      </dsp:nvSpPr>
      <dsp:spPr>
        <a:xfrm>
          <a:off x="4680321" y="1080127"/>
          <a:ext cx="2192131" cy="1154400"/>
        </a:xfrm>
        <a:prstGeom prst="roundRect">
          <a:avLst/>
        </a:prstGeom>
        <a:solidFill>
          <a:schemeClr val="tx2">
            <a:alpha val="3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accent4"/>
              </a:solidFill>
            </a:rPr>
            <a:t>Abstand links &lt;= 5: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accent4"/>
              </a:solidFill>
            </a:rPr>
            <a:t> Lenkung nach rechts</a:t>
          </a:r>
        </a:p>
      </dsp:txBody>
      <dsp:txXfrm>
        <a:off x="4736674" y="1136480"/>
        <a:ext cx="2079425" cy="1041694"/>
      </dsp:txXfrm>
    </dsp:sp>
    <dsp:sp modelId="{A3C2428C-2189-4344-92F0-5B0768BEBD0B}">
      <dsp:nvSpPr>
        <dsp:cNvPr id="0" name=""/>
        <dsp:cNvSpPr/>
      </dsp:nvSpPr>
      <dsp:spPr>
        <a:xfrm>
          <a:off x="4136838" y="2434075"/>
          <a:ext cx="1983649" cy="1163442"/>
        </a:xfrm>
        <a:prstGeom prst="roundRect">
          <a:avLst/>
        </a:prstGeom>
        <a:solidFill>
          <a:schemeClr val="tx2">
            <a:alpha val="3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accent4"/>
              </a:solidFill>
            </a:rPr>
            <a:t>Abstand rechts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accent4"/>
              </a:solidFill>
            </a:rPr>
            <a:t>&lt;= 5: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accent4"/>
              </a:solidFill>
            </a:rPr>
            <a:t>Lenkung nach links</a:t>
          </a:r>
        </a:p>
      </dsp:txBody>
      <dsp:txXfrm>
        <a:off x="4193633" y="2490870"/>
        <a:ext cx="1870059" cy="1049852"/>
      </dsp:txXfrm>
    </dsp:sp>
    <dsp:sp modelId="{2551BC97-EDD6-4247-918F-7C1AB596BA2A}">
      <dsp:nvSpPr>
        <dsp:cNvPr id="0" name=""/>
        <dsp:cNvSpPr/>
      </dsp:nvSpPr>
      <dsp:spPr>
        <a:xfrm>
          <a:off x="1832596" y="2438600"/>
          <a:ext cx="2127647" cy="1154391"/>
        </a:xfrm>
        <a:prstGeom prst="roundRect">
          <a:avLst/>
        </a:prstGeom>
        <a:solidFill>
          <a:schemeClr val="tx2">
            <a:alpha val="3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accent4"/>
              </a:solidFill>
            </a:rPr>
            <a:t>Rot-Wert &lt;= 10: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accent4"/>
              </a:solidFill>
            </a:rPr>
            <a:t>90° Drehung nach rechts</a:t>
          </a:r>
        </a:p>
      </dsp:txBody>
      <dsp:txXfrm>
        <a:off x="1888949" y="2494953"/>
        <a:ext cx="2014941" cy="1041685"/>
      </dsp:txXfrm>
    </dsp:sp>
    <dsp:sp modelId="{AFD55A6A-1B51-46C5-ABA9-78E609B1BE94}">
      <dsp:nvSpPr>
        <dsp:cNvPr id="0" name=""/>
        <dsp:cNvSpPr/>
      </dsp:nvSpPr>
      <dsp:spPr>
        <a:xfrm>
          <a:off x="1244566" y="1079241"/>
          <a:ext cx="2032660" cy="1178583"/>
        </a:xfrm>
        <a:prstGeom prst="roundRect">
          <a:avLst/>
        </a:prstGeom>
        <a:solidFill>
          <a:schemeClr val="tx2">
            <a:alpha val="3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accent4"/>
              </a:solidFill>
            </a:rPr>
            <a:t>Blau-Wert &lt;= 13: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>
              <a:solidFill>
                <a:schemeClr val="accent4"/>
              </a:solidFill>
            </a:rPr>
            <a:t>90° Drehung nach links</a:t>
          </a:r>
        </a:p>
      </dsp:txBody>
      <dsp:txXfrm>
        <a:off x="1302100" y="1136775"/>
        <a:ext cx="1917592" cy="10635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 alt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5BB8E293-1042-4CEC-AA6A-AC1419F134EB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image" Target="../media/image4.jpeg"/><Relationship Id="rId4" Type="http://schemas.openxmlformats.org/officeDocument/2006/relationships/tags" Target="../tags/tag10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135688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r:id="rId9" imgW="0" imgH="0" progId="TCLayout.ActiveDocument.1">
                  <p:embed/>
                </p:oleObj>
              </mc:Choice>
              <mc:Fallback>
                <p:oleObj r:id="rId9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3" name="Picture 17" descr="TU_130227_PPT_Bild-Aussicht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77EB37A2-EF7A-4C89-8C80-37DA0722EF8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359617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5C6E088C-2423-49EF-835C-A285118B9F3C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426123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E8518935-632D-4B74-BC8D-044316A86026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996180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2BBDDBE4-935C-43FF-87F6-A7DEDA59F724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376363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4457E7DC-5AC1-4BB3-B7F9-86FA458F5B6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2948371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68697E59-DE77-48A8-9839-1F3B253D98D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907069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AE3540A1-EFC2-4B26-A39F-A998E92DE11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100051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9F37A05C-013C-4F6B-B43F-F80E759F197B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16113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9C3D2718-90EA-4E9D-93FC-4FD174BE1AF9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8673965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2E37269B-7007-45BC-A633-3569F3FAFAE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649075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pic>
        <p:nvPicPr>
          <p:cNvPr id="1031" name="Picture 7" descr="TU_Logo_lang_RGB_rot_PPT-2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2650" y="539750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7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 altLang="de-DE"/>
              <a:t>Seite </a:t>
            </a:r>
            <a:fld id="{776A9D6E-11AA-4F9C-BC71-230A6F372F72}" type="slidenum">
              <a:rPr lang="de-DE" altLang="de-DE"/>
              <a:pPr/>
              <a:t>‹Nr.›</a:t>
            </a:fld>
            <a:endParaRPr lang="de-DE" altLang="de-DE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r:id="rId21" imgW="0" imgH="0" progId="TCLayout.ActiveDocument.1">
                  <p:embed/>
                </p:oleObj>
              </mc:Choice>
              <mc:Fallback>
                <p:oleObj r:id="rId21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4" name="Rectangle 20"/>
          <p:cNvSpPr>
            <a:spLocks noChangeArrowheads="1"/>
          </p:cNvSpPr>
          <p:nvPr/>
        </p:nvSpPr>
        <p:spPr bwMode="auto">
          <a:xfrm>
            <a:off x="7232650" y="6278563"/>
            <a:ext cx="1366838" cy="431800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de-DE" altLang="de-DE" sz="1000"/>
              <a:t>Dezentrales Logo</a:t>
            </a:r>
          </a:p>
          <a:p>
            <a:r>
              <a:rPr lang="de-DE" altLang="de-DE" sz="1000"/>
              <a:t>optional</a:t>
            </a:r>
            <a:endParaRPr lang="de-DE" altLang="de-DE" sz="1800"/>
          </a:p>
        </p:txBody>
      </p:sp>
      <p:pic>
        <p:nvPicPr>
          <p:cNvPr id="1047" name="Picture 23" descr="TU_130227_PPT_Bild-Aussicht_Streifen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4932578"/>
            <a:ext cx="8061325" cy="358560"/>
          </a:xfrm>
        </p:spPr>
        <p:txBody>
          <a:bodyPr/>
          <a:lstStyle/>
          <a:p>
            <a:r>
              <a:rPr lang="de-DE" altLang="de-DE" dirty="0"/>
              <a:t>Der </a:t>
            </a:r>
            <a:r>
              <a:rPr lang="de-DE" altLang="de-DE" dirty="0" err="1"/>
              <a:t>Labyrinthor</a:t>
            </a:r>
            <a:endParaRPr lang="de-DE" altLang="de-DE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750" y="5656709"/>
            <a:ext cx="8061325" cy="282129"/>
          </a:xfrm>
        </p:spPr>
        <p:txBody>
          <a:bodyPr/>
          <a:lstStyle/>
          <a:p>
            <a:r>
              <a:rPr lang="de-DE" altLang="de-DE" dirty="0"/>
              <a:t>L. H. </a:t>
            </a:r>
            <a:r>
              <a:rPr lang="de-DE" altLang="de-DE" dirty="0" err="1"/>
              <a:t>Fejzula</a:t>
            </a:r>
            <a:r>
              <a:rPr lang="de-DE" altLang="de-DE" dirty="0"/>
              <a:t>, P. </a:t>
            </a:r>
            <a:r>
              <a:rPr lang="de-DE" altLang="de-DE" dirty="0" err="1"/>
              <a:t>Kisskalt</a:t>
            </a:r>
            <a:r>
              <a:rPr lang="de-DE" altLang="de-DE" dirty="0"/>
              <a:t> | Robotik Labor | Projekt Präsentatio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2411760" y="2996952"/>
            <a:ext cx="4392488" cy="813364"/>
          </a:xfrm>
        </p:spPr>
        <p:txBody>
          <a:bodyPr/>
          <a:lstStyle/>
          <a:p>
            <a:r>
              <a:rPr lang="de-DE" sz="4800" dirty="0"/>
              <a:t>Noch Fragen?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/>
              <a:t>L. H. </a:t>
            </a:r>
            <a:r>
              <a:rPr lang="de-DE" altLang="de-DE" dirty="0" err="1"/>
              <a:t>Fejzula</a:t>
            </a:r>
            <a:r>
              <a:rPr lang="de-DE" altLang="de-DE" dirty="0"/>
              <a:t>, P. </a:t>
            </a:r>
            <a:r>
              <a:rPr lang="de-DE" altLang="de-DE" dirty="0" err="1"/>
              <a:t>Kisskalt</a:t>
            </a:r>
            <a:r>
              <a:rPr lang="de-DE" altLang="de-DE" dirty="0"/>
              <a:t> </a:t>
            </a:r>
            <a:r>
              <a:rPr lang="de-DE" altLang="de-DE" b="0" dirty="0"/>
              <a:t>| Robotik Labor | Projekt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E8518935-632D-4B74-BC8D-044316A86026}" type="slidenum">
              <a:rPr lang="de-DE" altLang="de-DE" smtClean="0"/>
              <a:pPr/>
              <a:t>1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6967963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/>
              <a:t>L. H. </a:t>
            </a:r>
            <a:r>
              <a:rPr lang="de-DE" altLang="de-DE" dirty="0" err="1"/>
              <a:t>Fejzula</a:t>
            </a:r>
            <a:r>
              <a:rPr lang="de-DE" altLang="de-DE" dirty="0"/>
              <a:t>, P. </a:t>
            </a:r>
            <a:r>
              <a:rPr lang="de-DE" altLang="de-DE" dirty="0" err="1"/>
              <a:t>Kisskalt</a:t>
            </a:r>
            <a:r>
              <a:rPr lang="de-DE" altLang="de-DE" b="0" dirty="0"/>
              <a:t>| Robotik Labor | Projekt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35D1C669-0BFA-49E6-9796-E592F33B10D9}" type="slidenum">
              <a:rPr lang="de-DE" altLang="de-DE"/>
              <a:pPr/>
              <a:t>2</a:t>
            </a:fld>
            <a:endParaRPr lang="de-DE" altLang="de-DE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altLang="de-DE" dirty="0"/>
              <a:t>Gliederung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539750" lvl="1" indent="0">
              <a:buNone/>
            </a:pPr>
            <a:endParaRPr lang="de-DE" altLang="de-DE" dirty="0"/>
          </a:p>
          <a:p>
            <a:pPr lvl="1"/>
            <a:r>
              <a:rPr lang="de-DE" altLang="de-DE" sz="1800" dirty="0"/>
              <a:t>Die Idee</a:t>
            </a:r>
          </a:p>
          <a:p>
            <a:pPr lvl="1"/>
            <a:r>
              <a:rPr lang="de-DE" altLang="de-DE" sz="1800" dirty="0"/>
              <a:t>Probleme</a:t>
            </a:r>
          </a:p>
          <a:p>
            <a:pPr lvl="1"/>
            <a:r>
              <a:rPr lang="de-DE" altLang="de-DE" sz="1800" dirty="0"/>
              <a:t>Komplexestes Problem</a:t>
            </a:r>
          </a:p>
          <a:p>
            <a:pPr lvl="1"/>
            <a:r>
              <a:rPr lang="de-DE" altLang="de-DE" sz="1800" dirty="0"/>
              <a:t>Programmstruktur</a:t>
            </a:r>
          </a:p>
          <a:p>
            <a:pPr lvl="1"/>
            <a:r>
              <a:rPr lang="de-DE" altLang="de-DE" sz="1800" dirty="0"/>
              <a:t>Aufbau des Roboters</a:t>
            </a:r>
          </a:p>
          <a:p>
            <a:pPr lvl="1"/>
            <a:r>
              <a:rPr lang="de-DE" altLang="de-DE" sz="1800" dirty="0"/>
              <a:t>Fazit</a:t>
            </a:r>
          </a:p>
          <a:p>
            <a:pPr lvl="1"/>
            <a:r>
              <a:rPr lang="de-DE" altLang="de-DE" sz="1800" dirty="0"/>
              <a:t>Ausblick</a:t>
            </a:r>
          </a:p>
          <a:p>
            <a:pPr lvl="1"/>
            <a:r>
              <a:rPr lang="de-DE" altLang="de-DE" sz="1800" dirty="0"/>
              <a:t>Fragen?</a:t>
            </a:r>
          </a:p>
          <a:p>
            <a:pPr marL="539750" lvl="1" indent="0">
              <a:buNone/>
            </a:pPr>
            <a:endParaRPr lang="de-DE" altLang="de-DE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Die Ide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de-DE" sz="1800" dirty="0"/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de-DE" sz="1800" dirty="0"/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de-DE" sz="1800" dirty="0"/>
          </a:p>
          <a:p>
            <a:pPr marL="285750" indent="-285750"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de-DE" sz="1800" dirty="0"/>
              <a:t>Roboter der ohne externe Hilfe ein Labyrinth durchquert, aber wie?</a:t>
            </a:r>
          </a:p>
          <a:p>
            <a:pPr marL="0" indent="0">
              <a:lnSpc>
                <a:spcPct val="100000"/>
              </a:lnSpc>
            </a:pPr>
            <a:endParaRPr lang="de-DE" sz="1800" b="1" dirty="0"/>
          </a:p>
          <a:p>
            <a:pPr marL="0" indent="0">
              <a:lnSpc>
                <a:spcPct val="100000"/>
              </a:lnSpc>
            </a:pPr>
            <a:endParaRPr lang="de-DE" sz="1800" b="1" dirty="0"/>
          </a:p>
          <a:p>
            <a:pPr marL="0" indent="0">
              <a:lnSpc>
                <a:spcPct val="100000"/>
              </a:lnSpc>
            </a:pPr>
            <a:endParaRPr lang="de-DE" sz="1800" b="1" dirty="0"/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de-DE" sz="1800" b="1" dirty="0"/>
              <a:t>Ein Roboter der via Farberkennung durch ein Labyrinth fährt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/>
              <a:t>L. H. </a:t>
            </a:r>
            <a:r>
              <a:rPr lang="de-DE" altLang="de-DE" dirty="0" err="1"/>
              <a:t>Fejzula</a:t>
            </a:r>
            <a:r>
              <a:rPr lang="de-DE" altLang="de-DE" dirty="0"/>
              <a:t>, P. </a:t>
            </a:r>
            <a:r>
              <a:rPr lang="de-DE" altLang="de-DE" dirty="0" err="1"/>
              <a:t>Kisskalt</a:t>
            </a:r>
            <a:r>
              <a:rPr lang="de-DE" altLang="de-DE" dirty="0"/>
              <a:t> | </a:t>
            </a:r>
            <a:r>
              <a:rPr lang="de-DE" altLang="de-DE" b="0" dirty="0"/>
              <a:t>Robotik Labor | Projekt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E8518935-632D-4B74-BC8D-044316A86026}" type="slidenum">
              <a:rPr lang="de-DE" altLang="de-DE" smtClean="0"/>
              <a:pPr/>
              <a:t>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21629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Problem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de-DE" sz="1800" dirty="0"/>
              <a:t>Die Ultraschall-Abstandsmesser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sz="1800" dirty="0"/>
              <a:t>Zeitaufwand einer Messung beeinträchtigte Motoren beim Fahren</a:t>
            </a:r>
          </a:p>
          <a:p>
            <a:pPr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de-DE" sz="1800" dirty="0"/>
          </a:p>
          <a:p>
            <a:pPr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de-DE" sz="1800" dirty="0"/>
              <a:t>Lichtempfindlichkeit des RGB-Sensors</a:t>
            </a:r>
          </a:p>
          <a:p>
            <a:pPr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de-DE" sz="1800" dirty="0"/>
          </a:p>
          <a:p>
            <a:pPr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de-DE" sz="1800" dirty="0"/>
              <a:t>Ansteuerung der Schrittmotoren mit geeigneter Library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sz="1800" dirty="0"/>
              <a:t>Beschleunigung eines einzelnen Rades, </a:t>
            </a:r>
            <a:r>
              <a:rPr lang="de-DE" sz="1800" dirty="0" err="1"/>
              <a:t>Accelstepper</a:t>
            </a:r>
            <a:endParaRPr lang="de-DE" sz="1800" dirty="0"/>
          </a:p>
          <a:p>
            <a:pPr lvl="1">
              <a:buFont typeface="Symbol" panose="05050102010706020507" pitchFamily="18" charset="2"/>
              <a:buChar char="-"/>
            </a:pPr>
            <a:endParaRPr lang="de-DE" sz="18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/>
              <a:t>L. H. </a:t>
            </a:r>
            <a:r>
              <a:rPr lang="de-DE" altLang="de-DE" dirty="0" err="1"/>
              <a:t>Fejzula</a:t>
            </a:r>
            <a:r>
              <a:rPr lang="de-DE" altLang="de-DE" dirty="0"/>
              <a:t>, P. </a:t>
            </a:r>
            <a:r>
              <a:rPr lang="de-DE" altLang="de-DE" dirty="0" err="1"/>
              <a:t>Kisskalt</a:t>
            </a:r>
            <a:r>
              <a:rPr lang="de-DE" altLang="de-DE" dirty="0"/>
              <a:t> </a:t>
            </a:r>
            <a:r>
              <a:rPr lang="de-DE" altLang="de-DE" b="0" dirty="0"/>
              <a:t>| Robotik Labor | Projekt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E8518935-632D-4B74-BC8D-044316A86026}" type="slidenum">
              <a:rPr lang="de-DE" altLang="de-DE" smtClean="0"/>
              <a:pPr/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63152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Komplexestes Problem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Symbol" panose="05050102010706020507" pitchFamily="18" charset="2"/>
              <a:buChar char="-"/>
            </a:pPr>
            <a:r>
              <a:rPr lang="de-DE" sz="1800" dirty="0"/>
              <a:t>Schrittmotoren nicht durch Ultraschall behindern</a:t>
            </a:r>
          </a:p>
          <a:p>
            <a:pPr marL="727075" lvl="1" indent="-285750">
              <a:buFont typeface="Symbol" panose="05050102010706020507" pitchFamily="18" charset="2"/>
              <a:buChar char="-"/>
            </a:pPr>
            <a:endParaRPr lang="de-DE" sz="1800" dirty="0"/>
          </a:p>
          <a:p>
            <a:pPr marL="727075" lvl="1" indent="-285750">
              <a:buFont typeface="Symbol" panose="05050102010706020507" pitchFamily="18" charset="2"/>
              <a:buChar char="-"/>
            </a:pPr>
            <a:r>
              <a:rPr lang="de-DE" sz="1800" dirty="0"/>
              <a:t>Zeitintervall für Messung festlegen (</a:t>
            </a:r>
            <a:r>
              <a:rPr lang="de-DE" sz="1800" dirty="0" err="1"/>
              <a:t>pulseIn</a:t>
            </a:r>
            <a:r>
              <a:rPr lang="de-DE" sz="1800" dirty="0"/>
              <a:t> (</a:t>
            </a:r>
            <a:r>
              <a:rPr lang="de-DE" sz="1800" dirty="0" err="1"/>
              <a:t>echoPin</a:t>
            </a:r>
            <a:r>
              <a:rPr lang="de-DE" sz="1800" dirty="0"/>
              <a:t>, HIGH, 600))</a:t>
            </a:r>
          </a:p>
          <a:p>
            <a:pPr marL="727075" lvl="1" indent="-285750">
              <a:buFont typeface="Symbol" panose="05050102010706020507" pitchFamily="18" charset="2"/>
              <a:buChar char="-"/>
            </a:pPr>
            <a:r>
              <a:rPr lang="de-DE" sz="1800" dirty="0"/>
              <a:t>Mittelwert für stabilere Messwerte errechnen</a:t>
            </a:r>
          </a:p>
          <a:p>
            <a:pPr marL="727075" lvl="1" indent="-285750">
              <a:buFont typeface="Symbol" panose="05050102010706020507" pitchFamily="18" charset="2"/>
              <a:buChar char="-"/>
            </a:pPr>
            <a:r>
              <a:rPr lang="de-DE" sz="1800" dirty="0"/>
              <a:t>Umrechnung von Mikrosekunden in cm zusammenfassen</a:t>
            </a:r>
          </a:p>
          <a:p>
            <a:pPr marL="727075" lvl="1" indent="-285750">
              <a:buFont typeface="Symbol" panose="05050102010706020507" pitchFamily="18" charset="2"/>
              <a:buChar char="-"/>
            </a:pPr>
            <a:r>
              <a:rPr lang="de-DE" sz="1800" dirty="0"/>
              <a:t>Entfernung als Variable speichern und in </a:t>
            </a:r>
            <a:r>
              <a:rPr lang="de-DE" sz="1800" dirty="0" err="1"/>
              <a:t>entspr</a:t>
            </a:r>
            <a:r>
              <a:rPr lang="de-DE" sz="1800" dirty="0"/>
              <a:t>. Schleife neu messen</a:t>
            </a:r>
          </a:p>
          <a:p>
            <a:pPr marL="727075" lvl="1" indent="-285750">
              <a:buFont typeface="Symbol" panose="05050102010706020507" pitchFamily="18" charset="2"/>
              <a:buChar char="-"/>
            </a:pPr>
            <a:endParaRPr lang="de-DE" sz="1800" dirty="0"/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de-DE" sz="1800" dirty="0"/>
              <a:t>Weitere Möglichkeiten:</a:t>
            </a:r>
          </a:p>
          <a:p>
            <a:pPr marL="727075" lvl="1" indent="-285750">
              <a:buFont typeface="Symbol" panose="05050102010706020507" pitchFamily="18" charset="2"/>
              <a:buChar char="-"/>
            </a:pPr>
            <a:r>
              <a:rPr lang="de-DE" sz="1800" dirty="0"/>
              <a:t>CPU </a:t>
            </a:r>
            <a:r>
              <a:rPr lang="de-DE" sz="1800" dirty="0" err="1"/>
              <a:t>Timer</a:t>
            </a:r>
            <a:r>
              <a:rPr lang="de-DE" sz="1800" dirty="0"/>
              <a:t> benutzen</a:t>
            </a:r>
          </a:p>
          <a:p>
            <a:pPr marL="727075" lvl="1" indent="-285750">
              <a:buFont typeface="Symbol" panose="05050102010706020507" pitchFamily="18" charset="2"/>
              <a:buChar char="-"/>
            </a:pPr>
            <a:r>
              <a:rPr lang="de-DE" sz="1800" dirty="0"/>
              <a:t>Zwei </a:t>
            </a:r>
            <a:r>
              <a:rPr lang="de-DE" sz="1800" dirty="0" err="1"/>
              <a:t>Arduinos</a:t>
            </a:r>
            <a:r>
              <a:rPr lang="de-DE" sz="1800" dirty="0"/>
              <a:t> kommunizieren lassen</a:t>
            </a:r>
          </a:p>
          <a:p>
            <a:pPr>
              <a:buFontTx/>
              <a:buChar char="-"/>
            </a:pPr>
            <a:endParaRPr lang="de-DE" sz="18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/>
              <a:t>L. H. </a:t>
            </a:r>
            <a:r>
              <a:rPr lang="de-DE" altLang="de-DE" dirty="0" err="1"/>
              <a:t>Fejzula</a:t>
            </a:r>
            <a:r>
              <a:rPr lang="de-DE" altLang="de-DE" dirty="0"/>
              <a:t>, P. </a:t>
            </a:r>
            <a:r>
              <a:rPr lang="de-DE" altLang="de-DE" dirty="0" err="1"/>
              <a:t>Kisskalt</a:t>
            </a:r>
            <a:r>
              <a:rPr lang="de-DE" altLang="de-DE" dirty="0"/>
              <a:t> </a:t>
            </a:r>
            <a:r>
              <a:rPr lang="de-DE" altLang="de-DE" b="0" dirty="0"/>
              <a:t>| Robotik Labor | Projekt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E8518935-632D-4B74-BC8D-044316A86026}" type="slidenum">
              <a:rPr lang="de-DE" altLang="de-DE" smtClean="0"/>
              <a:pPr/>
              <a:t>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938648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Programmstruktur</a:t>
            </a:r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39741797"/>
              </p:ext>
            </p:extLst>
          </p:nvPr>
        </p:nvGraphicFramePr>
        <p:xfrm>
          <a:off x="539750" y="2276872"/>
          <a:ext cx="8061325" cy="3641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/>
              <a:t>L. H. </a:t>
            </a:r>
            <a:r>
              <a:rPr lang="de-DE" altLang="de-DE" dirty="0" err="1"/>
              <a:t>Fejzula</a:t>
            </a:r>
            <a:r>
              <a:rPr lang="de-DE" altLang="de-DE" dirty="0"/>
              <a:t>, P. </a:t>
            </a:r>
            <a:r>
              <a:rPr lang="de-DE" altLang="de-DE" dirty="0" err="1"/>
              <a:t>Kisskalt</a:t>
            </a:r>
            <a:r>
              <a:rPr lang="de-DE" altLang="de-DE" dirty="0"/>
              <a:t> </a:t>
            </a:r>
            <a:r>
              <a:rPr lang="de-DE" altLang="de-DE" b="0" dirty="0"/>
              <a:t>| Robotik Labor | Projekt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E8518935-632D-4B74-BC8D-044316A86026}" type="slidenum">
              <a:rPr lang="de-DE" altLang="de-DE" smtClean="0"/>
              <a:pPr/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2443804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Aufbau des Roboters</a:t>
            </a:r>
          </a:p>
        </p:txBody>
      </p:sp>
      <p:pic>
        <p:nvPicPr>
          <p:cNvPr id="6" name="Inhaltsplatzhalt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3688" y="2219591"/>
            <a:ext cx="5400700" cy="399720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chemeClr val="accent4">
                <a:lumMod val="65000"/>
                <a:lumOff val="35000"/>
              </a:schemeClr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/>
              <a:t>L. H. </a:t>
            </a:r>
            <a:r>
              <a:rPr lang="de-DE" altLang="de-DE" dirty="0" err="1"/>
              <a:t>Fejzula</a:t>
            </a:r>
            <a:r>
              <a:rPr lang="de-DE" altLang="de-DE" dirty="0"/>
              <a:t>, P. </a:t>
            </a:r>
            <a:r>
              <a:rPr lang="de-DE" altLang="de-DE" dirty="0" err="1"/>
              <a:t>Kisskalt</a:t>
            </a:r>
            <a:r>
              <a:rPr lang="de-DE" altLang="de-DE" dirty="0"/>
              <a:t>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Der </a:t>
            </a:r>
            <a:r>
              <a:rPr lang="de-DE" altLang="de-DE" b="0" dirty="0" err="1"/>
              <a:t>Labyrinthor</a:t>
            </a:r>
            <a:r>
              <a:rPr lang="de-DE" altLang="de-DE" b="0" dirty="0"/>
              <a:t>| Projekt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E8518935-632D-4B74-BC8D-044316A86026}" type="slidenum">
              <a:rPr lang="de-DE" altLang="de-DE" smtClean="0"/>
              <a:pPr/>
              <a:t>7</a:t>
            </a:fld>
            <a:endParaRPr lang="de-DE" alt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2219591"/>
            <a:ext cx="2304256" cy="1850718"/>
          </a:xfrm>
          <a:prstGeom prst="ellipse">
            <a:avLst/>
          </a:prstGeom>
          <a:ln w="63500" cap="rnd">
            <a:solidFill>
              <a:schemeClr val="tx2"/>
            </a:solidFill>
          </a:ln>
          <a:effectLst/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6436" y="4833352"/>
            <a:ext cx="3044639" cy="1903813"/>
          </a:xfrm>
          <a:prstGeom prst="ellipse">
            <a:avLst/>
          </a:prstGeom>
          <a:ln w="63500" cap="rnd">
            <a:solidFill>
              <a:srgbClr val="0070C0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3114028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Fazi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de-DE" sz="1800" dirty="0"/>
              <a:t>Was noch gemacht werden muss: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sz="1800" dirty="0"/>
              <a:t>In der Fahrt lenken 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sz="1800" dirty="0"/>
              <a:t>Schrittzahl für 90° Drehung errechnen und implementieren</a:t>
            </a:r>
          </a:p>
          <a:p>
            <a:pPr lvl="1">
              <a:buFont typeface="Symbol" panose="05050102010706020507" pitchFamily="18" charset="2"/>
              <a:buChar char="-"/>
            </a:pPr>
            <a:endParaRPr lang="de-DE" sz="1800" dirty="0"/>
          </a:p>
          <a:p>
            <a:pPr lvl="1">
              <a:buFont typeface="Symbol" panose="05050102010706020507" pitchFamily="18" charset="2"/>
              <a:buChar char="-"/>
            </a:pPr>
            <a:endParaRPr lang="de-DE" sz="1800" dirty="0"/>
          </a:p>
          <a:p>
            <a:pPr>
              <a:lnSpc>
                <a:spcPct val="100000"/>
              </a:lnSpc>
              <a:buFont typeface="Symbol" panose="05050102010706020507" pitchFamily="18" charset="2"/>
              <a:buChar char="-"/>
            </a:pPr>
            <a:r>
              <a:rPr lang="de-DE" sz="1800" dirty="0"/>
              <a:t>Was wir schon fertig haben: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sz="1800" dirty="0"/>
              <a:t>Stepper bewegen sich flüssig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sz="1800" dirty="0"/>
              <a:t>Reaktionen auf Farben (Rot &amp; Blau) 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sz="1800" dirty="0"/>
              <a:t>Entfernung zur Wand mess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/>
              <a:t>L. H. </a:t>
            </a:r>
            <a:r>
              <a:rPr lang="de-DE" altLang="de-DE" dirty="0" err="1"/>
              <a:t>Fejzula</a:t>
            </a:r>
            <a:r>
              <a:rPr lang="de-DE" altLang="de-DE" dirty="0"/>
              <a:t>, P. </a:t>
            </a:r>
            <a:r>
              <a:rPr lang="de-DE" altLang="de-DE" dirty="0" err="1"/>
              <a:t>Kisskalt</a:t>
            </a:r>
            <a:r>
              <a:rPr lang="de-DE" altLang="de-DE" dirty="0"/>
              <a:t> </a:t>
            </a:r>
            <a:r>
              <a:rPr lang="de-DE" altLang="de-DE" b="0" dirty="0"/>
              <a:t>| Robotik Labor | Projekt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E8518935-632D-4B74-BC8D-044316A86026}" type="slidenum">
              <a:rPr lang="de-DE" altLang="de-DE" smtClean="0"/>
              <a:pPr/>
              <a:t>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575888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de-DE" dirty="0"/>
              <a:t>Ausblick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Symbol" panose="05050102010706020507" pitchFamily="18" charset="2"/>
              <a:buChar char="-"/>
            </a:pPr>
            <a:r>
              <a:rPr lang="de-DE" sz="1800" dirty="0"/>
              <a:t>Was wir im Blockkurs schaffen wollen: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sz="1800" dirty="0"/>
              <a:t>Roboter soll flüssig (in der Fahrt) lenken, wenn Distanz zur Wand zu kurz wird 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sz="1800" dirty="0"/>
              <a:t>90° Drehung implementieren</a:t>
            </a:r>
          </a:p>
          <a:p>
            <a:pPr lvl="1">
              <a:buFont typeface="Symbol" panose="05050102010706020507" pitchFamily="18" charset="2"/>
              <a:buChar char="-"/>
            </a:pPr>
            <a:endParaRPr lang="de-DE" sz="1800" dirty="0"/>
          </a:p>
          <a:p>
            <a:pPr>
              <a:buFont typeface="Symbol" panose="05050102010706020507" pitchFamily="18" charset="2"/>
              <a:buChar char="-"/>
            </a:pPr>
            <a:r>
              <a:rPr lang="de-DE" sz="1800" dirty="0"/>
              <a:t>Entwicklungspotenzial:</a:t>
            </a:r>
          </a:p>
          <a:p>
            <a:pPr>
              <a:buFont typeface="Symbol" panose="05050102010706020507" pitchFamily="18" charset="2"/>
              <a:buChar char="-"/>
            </a:pPr>
            <a:r>
              <a:rPr lang="de-DE" sz="1800" dirty="0"/>
              <a:t>Für uns: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DE" sz="1800" dirty="0"/>
              <a:t>Roboter könnte Gebiet </a:t>
            </a:r>
            <a:r>
              <a:rPr lang="de-DE" sz="1800" dirty="0" err="1"/>
              <a:t>mappen</a:t>
            </a:r>
            <a:r>
              <a:rPr lang="de-DE" sz="1800" dirty="0"/>
              <a:t> ( wäre zeitaufwendiger)</a:t>
            </a:r>
          </a:p>
          <a:p>
            <a:pPr lvl="1">
              <a:buFont typeface="Symbol" panose="05050102010706020507" pitchFamily="18" charset="2"/>
              <a:buChar char="-"/>
            </a:pPr>
            <a:endParaRPr lang="de-DE" sz="1800" dirty="0"/>
          </a:p>
          <a:p>
            <a:pPr>
              <a:buFont typeface="Symbol" panose="05050102010706020507" pitchFamily="18" charset="2"/>
              <a:buChar char="-"/>
            </a:pPr>
            <a:r>
              <a:rPr lang="de-DE" sz="1800" dirty="0"/>
              <a:t>Allgemein :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de-DE" sz="1800" dirty="0"/>
              <a:t>Selbstfahrendes Auto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de-DE" sz="1800" dirty="0"/>
              <a:t>Staubsauger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 dirty="0"/>
              <a:t>L. H. </a:t>
            </a:r>
            <a:r>
              <a:rPr lang="de-DE" altLang="de-DE" dirty="0" err="1"/>
              <a:t>Fejzula</a:t>
            </a:r>
            <a:r>
              <a:rPr lang="de-DE" altLang="de-DE" dirty="0"/>
              <a:t>, P. </a:t>
            </a:r>
            <a:r>
              <a:rPr lang="de-DE" altLang="de-DE" dirty="0" err="1"/>
              <a:t>Kisskalt</a:t>
            </a:r>
            <a:r>
              <a:rPr lang="de-DE" altLang="de-DE" dirty="0"/>
              <a:t> </a:t>
            </a:r>
            <a:r>
              <a:rPr lang="de-DE" altLang="de-DE" b="0" dirty="0"/>
              <a:t>| Robotik Labor | Projekt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E8518935-632D-4B74-BC8D-044316A86026}" type="slidenum">
              <a:rPr lang="de-DE" altLang="de-DE" smtClean="0"/>
              <a:pPr/>
              <a:t>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72911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Technische Universität Berlin | PowerPoint Master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_PPT_Master_mitBild_V02_Aussicht</Template>
  <TotalTime>0</TotalTime>
  <Words>425</Words>
  <Application>Microsoft Office PowerPoint</Application>
  <PresentationFormat>Bildschirmpräsentation (4:3)</PresentationFormat>
  <Paragraphs>94</Paragraphs>
  <Slides>1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5" baseType="lpstr">
      <vt:lpstr>Arial</vt:lpstr>
      <vt:lpstr>Symbol</vt:lpstr>
      <vt:lpstr>Wingdings</vt:lpstr>
      <vt:lpstr>Technische Universität Berlin | PowerPoint Master</vt:lpstr>
      <vt:lpstr>TCLayout.ActiveDocument.1</vt:lpstr>
      <vt:lpstr>Der Labyrinthor</vt:lpstr>
      <vt:lpstr>Gliederung</vt:lpstr>
      <vt:lpstr>Die Idee</vt:lpstr>
      <vt:lpstr>Probleme</vt:lpstr>
      <vt:lpstr>Komplexestes Problem</vt:lpstr>
      <vt:lpstr>Programmstruktur</vt:lpstr>
      <vt:lpstr>Aufbau des Roboters</vt:lpstr>
      <vt:lpstr>Fazit</vt:lpstr>
      <vt:lpstr>Ausblick</vt:lpstr>
      <vt:lpstr>Noch Fragen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r Labyrinthor</dc:title>
  <dc:creator>Lotta</dc:creator>
  <cp:lastModifiedBy>Lotta</cp:lastModifiedBy>
  <cp:revision>19</cp:revision>
  <dcterms:created xsi:type="dcterms:W3CDTF">2017-02-14T14:06:49Z</dcterms:created>
  <dcterms:modified xsi:type="dcterms:W3CDTF">2017-02-16T14:21:44Z</dcterms:modified>
</cp:coreProperties>
</file>